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FA0D1-2439-BEF7-1475-DB53E95FDB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28F9CB-E911-9007-BFB5-C00D4165B3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8F9CB-E911-9007-BFB5-C00D4165B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CE9B75-395C-51B6-C99D-4DAE2F31C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B9ABE-B665-8268-0318-F23582D4F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234F69A-5E95-A4DD-7F7C-30B9279A0CC2}"/>
              </a:ext>
            </a:extLst>
          </p:cNvPr>
          <p:cNvGrpSpPr/>
          <p:nvPr/>
        </p:nvGrpSpPr>
        <p:grpSpPr>
          <a:xfrm>
            <a:off x="5737003" y="1850864"/>
            <a:ext cx="4105646" cy="4105646"/>
            <a:chOff x="1237496" y="2003969"/>
            <a:chExt cx="4105646" cy="4105646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8519644-FA69-434E-5CFE-7C1D19FB73EA}"/>
                </a:ext>
              </a:extLst>
            </p:cNvPr>
            <p:cNvGrpSpPr/>
            <p:nvPr/>
          </p:nvGrpSpPr>
          <p:grpSpPr>
            <a:xfrm>
              <a:off x="2100442" y="2864517"/>
              <a:ext cx="2379753" cy="2382151"/>
              <a:chOff x="2100442" y="2565576"/>
              <a:chExt cx="2379753" cy="2382151"/>
            </a:xfrm>
          </p:grpSpPr>
          <p:sp>
            <p:nvSpPr>
              <p:cNvPr id="49" name="Block Arc 48">
                <a:extLst>
                  <a:ext uri="{FF2B5EF4-FFF2-40B4-BE49-F238E27FC236}">
                    <a16:creationId xmlns:a16="http://schemas.microsoft.com/office/drawing/2014/main" id="{EC8F96A7-0EDB-7B93-AD87-D2CCB883D824}"/>
                  </a:ext>
                </a:extLst>
              </p:cNvPr>
              <p:cNvSpPr/>
              <p:nvPr/>
            </p:nvSpPr>
            <p:spPr>
              <a:xfrm flipH="1">
                <a:off x="2100442" y="2567974"/>
                <a:ext cx="2379753" cy="2379753"/>
              </a:xfrm>
              <a:prstGeom prst="blockArc">
                <a:avLst>
                  <a:gd name="adj1" fmla="val 40644"/>
                  <a:gd name="adj2" fmla="val 16214381"/>
                  <a:gd name="adj3" fmla="val 16739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E331A372-BC9E-892E-4EA1-512EDC57C796}"/>
                  </a:ext>
                </a:extLst>
              </p:cNvPr>
              <p:cNvSpPr/>
              <p:nvPr/>
            </p:nvSpPr>
            <p:spPr>
              <a:xfrm>
                <a:off x="3092477" y="2565576"/>
                <a:ext cx="400383" cy="40038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368F000-DCE2-8F71-852B-341291091253}"/>
                </a:ext>
              </a:extLst>
            </p:cNvPr>
            <p:cNvGrpSpPr/>
            <p:nvPr/>
          </p:nvGrpSpPr>
          <p:grpSpPr>
            <a:xfrm>
              <a:off x="2531315" y="3297788"/>
              <a:ext cx="1518008" cy="1518008"/>
              <a:chOff x="2531315" y="2998847"/>
              <a:chExt cx="1518008" cy="1518008"/>
            </a:xfrm>
          </p:grpSpPr>
          <p:sp>
            <p:nvSpPr>
              <p:cNvPr id="47" name="Block Arc 46">
                <a:extLst>
                  <a:ext uri="{FF2B5EF4-FFF2-40B4-BE49-F238E27FC236}">
                    <a16:creationId xmlns:a16="http://schemas.microsoft.com/office/drawing/2014/main" id="{498B3F27-E32D-AB56-461E-833363D04CEE}"/>
                  </a:ext>
                </a:extLst>
              </p:cNvPr>
              <p:cNvSpPr/>
              <p:nvPr/>
            </p:nvSpPr>
            <p:spPr>
              <a:xfrm flipH="1">
                <a:off x="2531315" y="2998847"/>
                <a:ext cx="1518008" cy="1518008"/>
              </a:xfrm>
              <a:prstGeom prst="blockArc">
                <a:avLst>
                  <a:gd name="adj1" fmla="val 3706252"/>
                  <a:gd name="adj2" fmla="val 16177562"/>
                  <a:gd name="adj3" fmla="val 2640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0F2BA758-D73B-87B4-4F76-360B01329F6B}"/>
                  </a:ext>
                </a:extLst>
              </p:cNvPr>
              <p:cNvSpPr/>
              <p:nvPr/>
            </p:nvSpPr>
            <p:spPr>
              <a:xfrm>
                <a:off x="3092477" y="2998847"/>
                <a:ext cx="400383" cy="40038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96A8C5-B9DA-BF5D-0567-F8C82E585DD0}"/>
                </a:ext>
              </a:extLst>
            </p:cNvPr>
            <p:cNvGrpSpPr/>
            <p:nvPr/>
          </p:nvGrpSpPr>
          <p:grpSpPr>
            <a:xfrm>
              <a:off x="1667173" y="2431245"/>
              <a:ext cx="3246294" cy="3248695"/>
              <a:chOff x="1667173" y="2132304"/>
              <a:chExt cx="3246294" cy="3248695"/>
            </a:xfrm>
          </p:grpSpPr>
          <p:sp>
            <p:nvSpPr>
              <p:cNvPr id="45" name="Block Arc 44">
                <a:extLst>
                  <a:ext uri="{FF2B5EF4-FFF2-40B4-BE49-F238E27FC236}">
                    <a16:creationId xmlns:a16="http://schemas.microsoft.com/office/drawing/2014/main" id="{38C62AFE-CF39-DA2E-D1BA-2CAFB2019357}"/>
                  </a:ext>
                </a:extLst>
              </p:cNvPr>
              <p:cNvSpPr/>
              <p:nvPr/>
            </p:nvSpPr>
            <p:spPr>
              <a:xfrm flipH="1">
                <a:off x="1667173" y="2134705"/>
                <a:ext cx="3246294" cy="3246294"/>
              </a:xfrm>
              <a:prstGeom prst="blockArc">
                <a:avLst>
                  <a:gd name="adj1" fmla="val 20331835"/>
                  <a:gd name="adj2" fmla="val 16203514"/>
                  <a:gd name="adj3" fmla="val 1231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D31134A-7A91-F26A-6D1D-6EBCAB69A5E0}"/>
                  </a:ext>
                </a:extLst>
              </p:cNvPr>
              <p:cNvSpPr/>
              <p:nvPr/>
            </p:nvSpPr>
            <p:spPr>
              <a:xfrm>
                <a:off x="3092477" y="2132304"/>
                <a:ext cx="400383" cy="40038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7CDDB4E-DF09-B1A8-1FC2-7163D5B42352}"/>
                </a:ext>
              </a:extLst>
            </p:cNvPr>
            <p:cNvGrpSpPr/>
            <p:nvPr/>
          </p:nvGrpSpPr>
          <p:grpSpPr>
            <a:xfrm>
              <a:off x="1237496" y="2003969"/>
              <a:ext cx="4105646" cy="4105646"/>
              <a:chOff x="1237496" y="1705028"/>
              <a:chExt cx="4105646" cy="4105646"/>
            </a:xfrm>
          </p:grpSpPr>
          <p:sp>
            <p:nvSpPr>
              <p:cNvPr id="43" name="Block Arc 42">
                <a:extLst>
                  <a:ext uri="{FF2B5EF4-FFF2-40B4-BE49-F238E27FC236}">
                    <a16:creationId xmlns:a16="http://schemas.microsoft.com/office/drawing/2014/main" id="{E853110B-4E69-4B91-0686-BB6F4774671C}"/>
                  </a:ext>
                </a:extLst>
              </p:cNvPr>
              <p:cNvSpPr/>
              <p:nvPr/>
            </p:nvSpPr>
            <p:spPr>
              <a:xfrm flipH="1">
                <a:off x="1237496" y="1705028"/>
                <a:ext cx="4105646" cy="4105646"/>
              </a:xfrm>
              <a:prstGeom prst="blockArc">
                <a:avLst>
                  <a:gd name="adj1" fmla="val 19391962"/>
                  <a:gd name="adj2" fmla="val 16212586"/>
                  <a:gd name="adj3" fmla="val 987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2A4C3190-B602-47BA-30F7-1A8DF1011CB4}"/>
                  </a:ext>
                </a:extLst>
              </p:cNvPr>
              <p:cNvSpPr/>
              <p:nvPr/>
            </p:nvSpPr>
            <p:spPr>
              <a:xfrm>
                <a:off x="3092477" y="1705028"/>
                <a:ext cx="400383" cy="40038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600" dirty="0">
                  <a:solidFill>
                    <a:srgbClr val="FFFFFF"/>
                  </a:solidFill>
                  <a:latin typeface="FontAwesome" pitchFamily="2" charset="0"/>
                </a:endParaRP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3C54AC-245A-C1AB-377B-5CA011E37294}"/>
              </a:ext>
            </a:extLst>
          </p:cNvPr>
          <p:cNvSpPr txBox="1"/>
          <p:nvPr/>
        </p:nvSpPr>
        <p:spPr>
          <a:xfrm>
            <a:off x="3644341" y="2175381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5C6ECF-1A5F-9170-E863-6D3DBCBA2418}"/>
              </a:ext>
            </a:extLst>
          </p:cNvPr>
          <p:cNvSpPr/>
          <p:nvPr/>
        </p:nvSpPr>
        <p:spPr>
          <a:xfrm>
            <a:off x="505627" y="2399100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833D674-BA98-44AE-982C-27A6ED92701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2473575"/>
            <a:ext cx="492675" cy="31074"/>
            <a:chOff x="5012716" y="1129776"/>
            <a:chExt cx="2895125" cy="103072"/>
          </a:xfrm>
          <a:solidFill>
            <a:schemeClr val="accent2"/>
          </a:solidFill>
        </p:grpSpPr>
        <p:sp>
          <p:nvSpPr>
            <p:cNvPr id="34" name="Rounded Rectangle 32">
              <a:extLst>
                <a:ext uri="{FF2B5EF4-FFF2-40B4-BE49-F238E27FC236}">
                  <a16:creationId xmlns:a16="http://schemas.microsoft.com/office/drawing/2014/main" id="{8D4E0DBC-310C-20C8-DAA6-99485997D144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5" name="Rounded Rectangle 33">
              <a:extLst>
                <a:ext uri="{FF2B5EF4-FFF2-40B4-BE49-F238E27FC236}">
                  <a16:creationId xmlns:a16="http://schemas.microsoft.com/office/drawing/2014/main" id="{02B49B2E-8A29-753C-DDF0-CA5E56C0DB1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6" name="Rounded Rectangle 34">
              <a:extLst>
                <a:ext uri="{FF2B5EF4-FFF2-40B4-BE49-F238E27FC236}">
                  <a16:creationId xmlns:a16="http://schemas.microsoft.com/office/drawing/2014/main" id="{E887E1F4-4DDF-72EE-ABBF-60737CF93EA7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9064FD4-BBDF-2A06-7FC1-E0FDDFCC7386}"/>
              </a:ext>
            </a:extLst>
          </p:cNvPr>
          <p:cNvSpPr txBox="1"/>
          <p:nvPr/>
        </p:nvSpPr>
        <p:spPr>
          <a:xfrm>
            <a:off x="3644341" y="3128968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052647F-E457-5565-2FD9-6FA61C9506AA}"/>
              </a:ext>
            </a:extLst>
          </p:cNvPr>
          <p:cNvSpPr/>
          <p:nvPr/>
        </p:nvSpPr>
        <p:spPr>
          <a:xfrm>
            <a:off x="505627" y="3352687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91C958-BC82-6A4A-AD98-84C596D65FB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3427162"/>
            <a:ext cx="492675" cy="31074"/>
            <a:chOff x="5012716" y="1129776"/>
            <a:chExt cx="2895125" cy="103072"/>
          </a:xfrm>
          <a:solidFill>
            <a:schemeClr val="accent3"/>
          </a:solidFill>
        </p:grpSpPr>
        <p:sp>
          <p:nvSpPr>
            <p:cNvPr id="29" name="Rounded Rectangle 40">
              <a:extLst>
                <a:ext uri="{FF2B5EF4-FFF2-40B4-BE49-F238E27FC236}">
                  <a16:creationId xmlns:a16="http://schemas.microsoft.com/office/drawing/2014/main" id="{7D798FB5-4C08-75EA-4043-A46636E68E98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0" name="Rounded Rectangle 41">
              <a:extLst>
                <a:ext uri="{FF2B5EF4-FFF2-40B4-BE49-F238E27FC236}">
                  <a16:creationId xmlns:a16="http://schemas.microsoft.com/office/drawing/2014/main" id="{68C44070-4853-BCD2-7CA6-41475FAB883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1" name="Rounded Rectangle 42">
              <a:extLst>
                <a:ext uri="{FF2B5EF4-FFF2-40B4-BE49-F238E27FC236}">
                  <a16:creationId xmlns:a16="http://schemas.microsoft.com/office/drawing/2014/main" id="{6F8151B1-04C9-3C4E-776A-BE2EC1DB0B3C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5006C7D-7484-4C43-A7D1-2B072929C250}"/>
              </a:ext>
            </a:extLst>
          </p:cNvPr>
          <p:cNvSpPr txBox="1"/>
          <p:nvPr/>
        </p:nvSpPr>
        <p:spPr>
          <a:xfrm>
            <a:off x="3644341" y="40825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4A9AE5-B562-712F-F07F-EDCF6ACC69E2}"/>
              </a:ext>
            </a:extLst>
          </p:cNvPr>
          <p:cNvSpPr/>
          <p:nvPr/>
        </p:nvSpPr>
        <p:spPr>
          <a:xfrm>
            <a:off x="505627" y="4306274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466670-2273-E577-B627-7DEF1C98C12D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4380749"/>
            <a:ext cx="492675" cy="31074"/>
            <a:chOff x="5012716" y="1129776"/>
            <a:chExt cx="2895125" cy="103072"/>
          </a:xfrm>
          <a:solidFill>
            <a:schemeClr val="accent4"/>
          </a:solidFill>
        </p:grpSpPr>
        <p:sp>
          <p:nvSpPr>
            <p:cNvPr id="24" name="Rounded Rectangle 48">
              <a:extLst>
                <a:ext uri="{FF2B5EF4-FFF2-40B4-BE49-F238E27FC236}">
                  <a16:creationId xmlns:a16="http://schemas.microsoft.com/office/drawing/2014/main" id="{E3ACC073-9C3F-8688-39EC-09154994DBBB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5" name="Rounded Rectangle 49">
              <a:extLst>
                <a:ext uri="{FF2B5EF4-FFF2-40B4-BE49-F238E27FC236}">
                  <a16:creationId xmlns:a16="http://schemas.microsoft.com/office/drawing/2014/main" id="{78456A6A-26ED-DCE6-C9ED-B24A8B194780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6" name="Rounded Rectangle 50">
              <a:extLst>
                <a:ext uri="{FF2B5EF4-FFF2-40B4-BE49-F238E27FC236}">
                  <a16:creationId xmlns:a16="http://schemas.microsoft.com/office/drawing/2014/main" id="{7C87C7AC-A7B1-3CDB-A173-CCCE44CDA8A4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EE35904-EC24-9989-8C26-A92CF161E502}"/>
              </a:ext>
            </a:extLst>
          </p:cNvPr>
          <p:cNvSpPr txBox="1"/>
          <p:nvPr/>
        </p:nvSpPr>
        <p:spPr>
          <a:xfrm>
            <a:off x="3644341" y="503614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5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834226-903A-8A3C-CC42-D038ED5B2D37}"/>
              </a:ext>
            </a:extLst>
          </p:cNvPr>
          <p:cNvSpPr/>
          <p:nvPr/>
        </p:nvSpPr>
        <p:spPr>
          <a:xfrm>
            <a:off x="505627" y="5259861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8500B4D-9FCB-0E94-2861-6055CDE8AFA7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5334336"/>
            <a:ext cx="492675" cy="31074"/>
            <a:chOff x="5012716" y="1129776"/>
            <a:chExt cx="2895125" cy="103072"/>
          </a:xfrm>
          <a:solidFill>
            <a:schemeClr val="accent5"/>
          </a:solidFill>
        </p:grpSpPr>
        <p:sp>
          <p:nvSpPr>
            <p:cNvPr id="19" name="Rounded Rectangle 56">
              <a:extLst>
                <a:ext uri="{FF2B5EF4-FFF2-40B4-BE49-F238E27FC236}">
                  <a16:creationId xmlns:a16="http://schemas.microsoft.com/office/drawing/2014/main" id="{B2E81F19-6B95-9F61-5566-7BC8687917A2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0" name="Rounded Rectangle 57">
              <a:extLst>
                <a:ext uri="{FF2B5EF4-FFF2-40B4-BE49-F238E27FC236}">
                  <a16:creationId xmlns:a16="http://schemas.microsoft.com/office/drawing/2014/main" id="{8BD50B17-75D8-EA5F-C7CF-0DB6D2D7230D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1" name="Rounded Rectangle 58">
              <a:extLst>
                <a:ext uri="{FF2B5EF4-FFF2-40B4-BE49-F238E27FC236}">
                  <a16:creationId xmlns:a16="http://schemas.microsoft.com/office/drawing/2014/main" id="{25247445-905C-3A9A-412B-878F05226B56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63823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6</TotalTime>
  <Words>3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FontAwesome</vt:lpstr>
      <vt:lpstr>Open Sans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5</cp:revision>
  <dcterms:created xsi:type="dcterms:W3CDTF">2021-03-31T02:49:57Z</dcterms:created>
  <dcterms:modified xsi:type="dcterms:W3CDTF">2025-10-15T03:17:52Z</dcterms:modified>
  <cp:category/>
</cp:coreProperties>
</file>